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0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404" r:id="rId33"/>
    <p:sldId id="403" r:id="rId34"/>
    <p:sldId id="453" r:id="rId35"/>
    <p:sldId id="454" r:id="rId36"/>
    <p:sldId id="455" r:id="rId37"/>
    <p:sldId id="456" r:id="rId38"/>
    <p:sldId id="443" r:id="rId39"/>
    <p:sldId id="445" r:id="rId40"/>
    <p:sldId id="405" r:id="rId41"/>
    <p:sldId id="447" r:id="rId42"/>
    <p:sldId id="448" r:id="rId43"/>
    <p:sldId id="449" r:id="rId44"/>
    <p:sldId id="450" r:id="rId45"/>
    <p:sldId id="479" r:id="rId46"/>
    <p:sldId id="480" r:id="rId47"/>
    <p:sldId id="406" r:id="rId48"/>
    <p:sldId id="457" r:id="rId49"/>
    <p:sldId id="473" r:id="rId50"/>
    <p:sldId id="474" r:id="rId51"/>
    <p:sldId id="475" r:id="rId52"/>
    <p:sldId id="476" r:id="rId53"/>
    <p:sldId id="477" r:id="rId54"/>
    <p:sldId id="408" r:id="rId55"/>
    <p:sldId id="458" r:id="rId56"/>
    <p:sldId id="407" r:id="rId57"/>
    <p:sldId id="470" r:id="rId58"/>
    <p:sldId id="471" r:id="rId59"/>
    <p:sldId id="481" r:id="rId60"/>
    <p:sldId id="478" r:id="rId61"/>
    <p:sldId id="401" r:id="rId62"/>
    <p:sldId id="409" r:id="rId63"/>
    <p:sldId id="410" r:id="rId64"/>
    <p:sldId id="418" r:id="rId65"/>
    <p:sldId id="451" r:id="rId66"/>
    <p:sldId id="466" r:id="rId67"/>
    <p:sldId id="468" r:id="rId68"/>
    <p:sldId id="469" r:id="rId69"/>
  </p:sldIdLst>
  <p:sldSz cx="9144000" cy="6858000" type="screen4x3"/>
  <p:notesSz cx="6794500" cy="9931400"/>
  <p:custDataLst>
    <p:tags r:id="rId7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C8FC"/>
    <a:srgbClr val="CCFFCC"/>
    <a:srgbClr val="3366FF"/>
    <a:srgbClr val="0000FF"/>
    <a:srgbClr val="00CC00"/>
    <a:srgbClr val="99FFCC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2-2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539</Words>
  <Application>Microsoft Office PowerPoint</Application>
  <PresentationFormat>Bildschirmpräsentation (4:3)</PresentationFormat>
  <Paragraphs>3219</Paragraphs>
  <Slides>68</Slides>
  <Notes>4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8</vt:i4>
      </vt:variant>
    </vt:vector>
  </HeadingPairs>
  <TitlesOfParts>
    <vt:vector size="75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90</cp:revision>
  <cp:lastPrinted>2014-03-14T08:12:43Z</cp:lastPrinted>
  <dcterms:created xsi:type="dcterms:W3CDTF">2013-11-22T07:35:27Z</dcterms:created>
  <dcterms:modified xsi:type="dcterms:W3CDTF">2020-12-21T18:07:30Z</dcterms:modified>
</cp:coreProperties>
</file>